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555" r:id="rId2"/>
    <p:sldId id="556" r:id="rId3"/>
    <p:sldId id="557" r:id="rId4"/>
    <p:sldId id="558" r:id="rId5"/>
    <p:sldId id="559" r:id="rId6"/>
  </p:sldIdLst>
  <p:sldSz cx="9144000" cy="6858000" type="screen4x3"/>
  <p:notesSz cx="6797675" cy="9926638"/>
  <p:custDataLst>
    <p:tags r:id="rId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672">
          <p15:clr>
            <a:srgbClr val="A4A3A4"/>
          </p15:clr>
        </p15:guide>
        <p15:guide id="3" pos="5472">
          <p15:clr>
            <a:srgbClr val="A4A3A4"/>
          </p15:clr>
        </p15:guide>
        <p15:guide id="4" pos="1008">
          <p15:clr>
            <a:srgbClr val="A4A3A4"/>
          </p15:clr>
        </p15:guide>
        <p15:guide id="5" pos="11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39" userDrawn="1">
          <p15:clr>
            <a:srgbClr val="A4A3A4"/>
          </p15:clr>
        </p15:guide>
        <p15:guide id="2" pos="2076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000000"/>
    <a:srgbClr val="8198B6"/>
    <a:srgbClr val="050B13"/>
    <a:srgbClr val="FFFF00"/>
    <a:srgbClr val="5071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81651" autoAdjust="0"/>
  </p:normalViewPr>
  <p:slideViewPr>
    <p:cSldViewPr>
      <p:cViewPr varScale="1">
        <p:scale>
          <a:sx n="86" d="100"/>
          <a:sy n="86" d="100"/>
        </p:scale>
        <p:origin x="1332" y="96"/>
      </p:cViewPr>
      <p:guideLst>
        <p:guide orient="horz" pos="2160"/>
        <p:guide pos="672"/>
        <p:guide pos="5472"/>
        <p:guide pos="1008"/>
        <p:guide pos="11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174" y="-84"/>
      </p:cViewPr>
      <p:guideLst>
        <p:guide orient="horz" pos="3339"/>
        <p:guide pos="2076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02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804A8470-D56F-42D1-B557-9CEA94888284}" type="datetimeFigureOut">
              <a:rPr lang="nb-NO"/>
              <a:pPr>
                <a:defRPr/>
              </a:pPr>
              <a:t>09.04.2021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02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483F96E-AE08-4590-840D-0BE30E29BD1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8781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02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8359519-4A0D-4F3D-9542-901ACE794697}" type="datetimeFigureOut">
              <a:rPr lang="nb-NO"/>
              <a:pPr>
                <a:defRPr/>
              </a:pPr>
              <a:t>09.04.2021</a:t>
            </a:fld>
            <a:endParaRPr lang="nb-NO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8" tIns="45784" rIns="91568" bIns="45784" rtlCol="0" anchor="ctr"/>
          <a:lstStyle/>
          <a:p>
            <a:pPr lvl="0"/>
            <a:endParaRPr lang="nb-NO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790"/>
            <a:ext cx="5438140" cy="4466670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02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4462D4D-D561-45F2-8606-CC6A7FC43C23}" type="slidenum">
              <a:rPr lang="nb-NO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778293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297573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5952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026"/>
          <p:cNvSpPr>
            <a:spLocks noGrp="1" noChangeArrowheads="1"/>
          </p:cNvSpPr>
          <p:nvPr>
            <p:ph type="ctrTitle" sz="quarter"/>
          </p:nvPr>
        </p:nvSpPr>
        <p:spPr>
          <a:xfrm>
            <a:off x="1752600" y="2286000"/>
            <a:ext cx="6934200" cy="1143000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075" name="Rectangle 102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752600" y="3429000"/>
            <a:ext cx="6934200" cy="1752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5754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2684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2750" y="838200"/>
            <a:ext cx="1924050" cy="5257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838200"/>
            <a:ext cx="5619750" cy="52578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5191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60350"/>
            <a:ext cx="7772400" cy="9366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16113"/>
            <a:ext cx="3810000" cy="41798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810000" cy="41798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3109913" y="6388100"/>
            <a:ext cx="2895600" cy="2809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gram "Nye HM"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78750" y="6532563"/>
            <a:ext cx="1223963" cy="2809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nb-NO" altLang="nb-NO"/>
              <a:t>s. </a:t>
            </a:r>
            <a:fld id="{746D4DA5-87D3-489E-BBDC-452DD3CA28A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287648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8964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527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1981200"/>
            <a:ext cx="3771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4900" y="1981200"/>
            <a:ext cx="3771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3502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8275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6519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270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1302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834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73397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838200"/>
            <a:ext cx="7696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1981200"/>
            <a:ext cx="7696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09" r:id="rId2"/>
    <p:sldLayoutId id="2147484910" r:id="rId3"/>
    <p:sldLayoutId id="2147484911" r:id="rId4"/>
    <p:sldLayoutId id="2147484912" r:id="rId5"/>
    <p:sldLayoutId id="2147484913" r:id="rId6"/>
    <p:sldLayoutId id="2147484914" r:id="rId7"/>
    <p:sldLayoutId id="2147484915" r:id="rId8"/>
    <p:sldLayoutId id="2147484916" r:id="rId9"/>
    <p:sldLayoutId id="2147484917" r:id="rId10"/>
    <p:sldLayoutId id="2147484918" r:id="rId11"/>
    <p:sldLayoutId id="2147484921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sz="quarter" idx="1"/>
          </p:nvPr>
        </p:nvSpPr>
        <p:spPr>
          <a:xfrm>
            <a:off x="1187624" y="2708920"/>
            <a:ext cx="6934200" cy="2592288"/>
          </a:xfrm>
        </p:spPr>
        <p:txBody>
          <a:bodyPr/>
          <a:lstStyle/>
          <a:p>
            <a:endParaRPr lang="nb-NO" sz="2400" b="1" dirty="0">
              <a:solidFill>
                <a:schemeClr val="tx2"/>
              </a:solidFill>
            </a:endParaRPr>
          </a:p>
          <a:p>
            <a:r>
              <a:rPr lang="nb-NO" sz="2400" b="1" dirty="0">
                <a:solidFill>
                  <a:schemeClr val="tx2"/>
                </a:solidFill>
              </a:rPr>
              <a:t>Oppdatert langtidsprognose for</a:t>
            </a:r>
            <a:br>
              <a:rPr lang="nb-NO" sz="2400" b="1" dirty="0">
                <a:solidFill>
                  <a:schemeClr val="tx2"/>
                </a:solidFill>
              </a:rPr>
            </a:br>
            <a:r>
              <a:rPr lang="nb-NO" sz="2400" b="1" dirty="0">
                <a:solidFill>
                  <a:schemeClr val="tx2"/>
                </a:solidFill>
              </a:rPr>
              <a:t>Det humanistiske fakultet</a:t>
            </a:r>
          </a:p>
          <a:p>
            <a:r>
              <a:rPr lang="nb-NO" sz="1800" b="1" dirty="0">
                <a:solidFill>
                  <a:schemeClr val="tx2"/>
                </a:solidFill>
              </a:rPr>
              <a:t>Fakultetsstyremøte 16. april 2021</a:t>
            </a:r>
          </a:p>
          <a:p>
            <a:endParaRPr lang="nb-NO" sz="2400" b="1" dirty="0">
              <a:solidFill>
                <a:schemeClr val="tx2"/>
              </a:solidFill>
            </a:endParaRPr>
          </a:p>
          <a:p>
            <a:endParaRPr lang="nb-NO" b="1" dirty="0">
              <a:solidFill>
                <a:schemeClr val="tx2"/>
              </a:solidFill>
            </a:endParaRPr>
          </a:p>
          <a:p>
            <a:endParaRPr lang="nb-NO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706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angtidsprognos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Totalt har HF et isolert mindreforbruk på 53,9 MNOK pr. 31.12.2020. </a:t>
            </a:r>
          </a:p>
          <a:p>
            <a:endParaRPr lang="nb-NO" dirty="0"/>
          </a:p>
          <a:p>
            <a:r>
              <a:rPr lang="nb-NO" dirty="0"/>
              <a:t>Covid-19-situasjonen har redusert kostnadene med ca. 18 MNOK. </a:t>
            </a:r>
          </a:p>
          <a:p>
            <a:endParaRPr lang="nb-NO" dirty="0"/>
          </a:p>
          <a:p>
            <a:r>
              <a:rPr lang="nb-NO" dirty="0"/>
              <a:t>Spesielt lavere kostnader på kurs, konferanse og reiser enn i fjor og mot budsjett. </a:t>
            </a:r>
          </a:p>
        </p:txBody>
      </p:sp>
    </p:spTree>
    <p:extLst>
      <p:ext uri="{BB962C8B-B14F-4D97-AF65-F5344CB8AC3E}">
        <p14:creationId xmlns:p14="http://schemas.microsoft.com/office/powerpoint/2010/main" val="3964416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angtidsprognos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Hadde med oss 31,2 MNOK i ubrukte midler fra tidligere år og dermed er akkumulert mindreforbruk på 85,1 MNOK pr. 31.12.2020.</a:t>
            </a:r>
          </a:p>
          <a:p>
            <a:endParaRPr lang="nb-NO" dirty="0"/>
          </a:p>
          <a:p>
            <a:r>
              <a:rPr lang="nb-NO" dirty="0"/>
              <a:t>Av de 85,1 MNOK er 37 MNOK bundet opp i øremerkinger.</a:t>
            </a:r>
          </a:p>
          <a:p>
            <a:endParaRPr lang="nb-NO" dirty="0"/>
          </a:p>
          <a:p>
            <a:r>
              <a:rPr lang="nb-NO" dirty="0"/>
              <a:t>Korrigerer man for dette er akkumulert mindreforbruk på 48 MNOK. </a:t>
            </a:r>
          </a:p>
          <a:p>
            <a:pPr marL="457200" lvl="1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17654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angtidsprognos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Langtidsprognosen er betydelig forbedret og det skyldes:</a:t>
            </a:r>
          </a:p>
          <a:p>
            <a:pPr lvl="1"/>
            <a:r>
              <a:rPr lang="nb-NO" sz="2000" dirty="0"/>
              <a:t>Reduserte kostnader i 2020 grunnet covid-19 </a:t>
            </a:r>
            <a:br>
              <a:rPr lang="nb-NO" sz="2000" dirty="0"/>
            </a:br>
            <a:r>
              <a:rPr lang="nb-NO" sz="2000" dirty="0"/>
              <a:t>(reduserte kostnader på reise, kurs, konferanser, lavere lønnsoppgjør, høyere sykerefusjoner)</a:t>
            </a:r>
          </a:p>
          <a:p>
            <a:pPr lvl="1"/>
            <a:r>
              <a:rPr lang="nb-NO" sz="2000" dirty="0"/>
              <a:t>Lavere estimert lønnsoppgjør i 2021, men ikke reduserte rammer</a:t>
            </a:r>
          </a:p>
          <a:p>
            <a:pPr lvl="1"/>
            <a:r>
              <a:rPr lang="nb-NO" sz="2000" dirty="0"/>
              <a:t>Lavere pensjonskostnad i år 2021 grunnet covid-19, men ikke reduserte rammer</a:t>
            </a:r>
          </a:p>
          <a:p>
            <a:pPr lvl="1"/>
            <a:r>
              <a:rPr lang="nb-NO" sz="2000" dirty="0"/>
              <a:t>Arbeid med kostnadsreduserende tiltak på enhetene</a:t>
            </a:r>
          </a:p>
          <a:p>
            <a:pPr lvl="1"/>
            <a:r>
              <a:rPr lang="nb-NO" sz="2000" dirty="0"/>
              <a:t>Forventet høyere RBO-inntekter i langtidsperioden grunnet nye tilslag på EU prosjekter</a:t>
            </a:r>
          </a:p>
        </p:txBody>
      </p:sp>
    </p:spTree>
    <p:extLst>
      <p:ext uri="{BB962C8B-B14F-4D97-AF65-F5344CB8AC3E}">
        <p14:creationId xmlns:p14="http://schemas.microsoft.com/office/powerpoint/2010/main" val="1799856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angtidsprognose</a:t>
            </a:r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3528" y="1772816"/>
            <a:ext cx="8596706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65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 strategi til handling fakultetsstyret 030317 (2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s på hf direktørnettverket 111017</Template>
  <TotalTime>1933</TotalTime>
  <Words>173</Words>
  <Application>Microsoft Office PowerPoint</Application>
  <PresentationFormat>On-screen Show (4:3)</PresentationFormat>
  <Paragraphs>26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fra strategi til handling fakultetsstyret 030317 (2)</vt:lpstr>
      <vt:lpstr>think-cell Slide</vt:lpstr>
      <vt:lpstr>PowerPoint Presentation</vt:lpstr>
      <vt:lpstr>Langtidsprognose</vt:lpstr>
      <vt:lpstr>Langtidsprognose</vt:lpstr>
      <vt:lpstr>Langtidsprognose</vt:lpstr>
      <vt:lpstr>Langtidsprognose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ica Bakken</dc:creator>
  <cp:lastModifiedBy>Monica Bakken</cp:lastModifiedBy>
  <cp:revision>103</cp:revision>
  <cp:lastPrinted>2019-04-10T12:01:24Z</cp:lastPrinted>
  <dcterms:created xsi:type="dcterms:W3CDTF">2019-03-20T07:26:08Z</dcterms:created>
  <dcterms:modified xsi:type="dcterms:W3CDTF">2021-04-09T07:45:54Z</dcterms:modified>
</cp:coreProperties>
</file>